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14" r:id="rId2"/>
    <p:sldId id="415" r:id="rId3"/>
    <p:sldId id="416" r:id="rId4"/>
    <p:sldId id="417" r:id="rId5"/>
    <p:sldId id="418" r:id="rId6"/>
    <p:sldId id="419" r:id="rId7"/>
    <p:sldId id="420" r:id="rId8"/>
    <p:sldId id="421" r:id="rId9"/>
    <p:sldId id="422" r:id="rId10"/>
    <p:sldId id="423" r:id="rId11"/>
    <p:sldId id="424" r:id="rId12"/>
    <p:sldId id="425" r:id="rId13"/>
    <p:sldId id="426" r:id="rId14"/>
    <p:sldId id="427" r:id="rId15"/>
    <p:sldId id="428" r:id="rId16"/>
    <p:sldId id="429" r:id="rId17"/>
    <p:sldId id="405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>
    <p:extLst/>
  </p:cmAuthor>
  <p:cmAuthor id="2" name="Jeremy N Gooden" initials="JNG" lastIdx="1" clrIdx="1">
    <p:extLst/>
  </p:cmAuthor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48" autoAdjust="0"/>
    <p:restoredTop sz="87483" autoAdjust="0"/>
  </p:normalViewPr>
  <p:slideViewPr>
    <p:cSldViewPr snapToGrid="0" snapToObjects="1">
      <p:cViewPr varScale="1">
        <p:scale>
          <a:sx n="58" d="100"/>
          <a:sy n="58" d="100"/>
        </p:scale>
        <p:origin x="106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7/2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7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390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Relationship Id="rId3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Mahinder.sanjay@gc.pspc.ca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On the foreground, a woman wearing an orange sweater is laughing in a work setting, in the blurry background we can see her other coworkers interacting." title="Photo of a woman laugh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sp>
        <p:nvSpPr>
          <p:cNvPr id="8" name="Rectangle 7" title="Gray rectangle"/>
          <p:cNvSpPr/>
          <p:nvPr/>
        </p:nvSpPr>
        <p:spPr>
          <a:xfrm>
            <a:off x="-3513" y="-13317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652545" cy="1587701"/>
          </a:xfrm>
        </p:spPr>
        <p:txBody>
          <a:bodyPr>
            <a:normAutofit fontScale="90000"/>
          </a:bodyPr>
          <a:lstStyle/>
          <a:p>
            <a:r>
              <a:rPr lang="en-US" dirty="0" err="1" smtClean="0">
                <a:solidFill>
                  <a:schemeClr val="bg1"/>
                </a:solidFill>
              </a:rPr>
              <a:t>Stratégie</a:t>
            </a:r>
            <a:r>
              <a:rPr lang="en-US" dirty="0" smtClean="0">
                <a:solidFill>
                  <a:schemeClr val="bg1"/>
                </a:solidFill>
              </a:rPr>
              <a:t> de gestion du </a:t>
            </a:r>
            <a:r>
              <a:rPr lang="en-US" dirty="0" err="1" smtClean="0">
                <a:solidFill>
                  <a:schemeClr val="bg1"/>
                </a:solidFill>
              </a:rPr>
              <a:t>changemen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2997993" cy="678352"/>
          </a:xfrm>
        </p:spPr>
        <p:txBody>
          <a:bodyPr>
            <a:normAutofit/>
          </a:bodyPr>
          <a:lstStyle/>
          <a:p>
            <a:r>
              <a:rPr lang="en-US" dirty="0" err="1" smtClean="0">
                <a:solidFill>
                  <a:schemeClr val="accent2"/>
                </a:solidFill>
              </a:rPr>
              <a:t>Modèl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Date : xx-xx-20xx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 title="White rectangle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 descr="Image result for canada wordmark">
            <a:hlinkClick r:id="rId4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 descr="Un v majuscule vert et bleu est à l’envers, à sa droite le texte Milieu de travail GC est écrit en blanc." title="Identité visuelle du Milieu de travail GC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7" name="Picture 6" descr="Le drapeau feuille d’érable blanc et rouge, à sa droite il est écrit Gouvernement du Canada et Government of Canada" title="Identité d’entreprise du Gouvernement du Canada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332" y="6310971"/>
            <a:ext cx="259080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686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dirty="0" smtClean="0"/>
              <a:t>Outil d’évaluation de changement ADKAR</a:t>
            </a:r>
            <a:endParaRPr lang="fr-CA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smtClean="0">
                <a:solidFill>
                  <a:schemeClr val="tx2"/>
                </a:solidFill>
              </a:rPr>
              <a:t>Inclure les conclusions principales de l’évaluation.</a:t>
            </a:r>
            <a:endParaRPr lang="fr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idx="13"/>
          </p:nvPr>
        </p:nvSpPr>
        <p:spPr>
          <a:xfrm>
            <a:off x="542925" y="1657350"/>
            <a:ext cx="2654801" cy="277809"/>
          </a:xfrm>
        </p:spPr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65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>
            <a:normAutofit/>
          </a:bodyPr>
          <a:lstStyle/>
          <a:p>
            <a:r>
              <a:rPr lang="fr-CA" sz="1400" i="1" dirty="0" smtClean="0">
                <a:solidFill>
                  <a:schemeClr val="tx2"/>
                </a:solidFill>
              </a:rPr>
              <a:t>Qui sera touché et quels seront les impacts (résultats des évaluations). Expliquer la stratégie à haut niveau et indiquer cinq ou six (ou plus si requis) zones d’intervention qui permettront de minimiser et prendre en considération les impacts.</a:t>
            </a:r>
            <a:endParaRPr lang="en-CA" sz="1400" i="1" dirty="0" smtClean="0">
              <a:solidFill>
                <a:schemeClr val="tx2"/>
              </a:solidFill>
            </a:endParaRPr>
          </a:p>
          <a:p>
            <a:endParaRPr lang="en-CA" sz="1400" i="1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r>
              <a:rPr lang="fr-CA" dirty="0" smtClean="0"/>
              <a:t>SOUS-TITRE</a:t>
            </a:r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Stratégie de gestion du changement proposé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74630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adre de communication proposé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418144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adre de mobilisation proposé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20634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adre de formation proposé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796953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dirty="0" smtClean="0"/>
              <a:t>Gestion de la résistance </a:t>
            </a:r>
            <a:r>
              <a:rPr lang="fr-CA" dirty="0" smtClean="0">
                <a:solidFill>
                  <a:schemeClr val="tx2"/>
                </a:solidFill>
              </a:rPr>
              <a:t>(à inclure au besoin)</a:t>
            </a:r>
            <a:endParaRPr lang="fr-CA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553625" y="1995032"/>
            <a:ext cx="10961479" cy="412001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CA" sz="120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idx="4294967295"/>
          </p:nvPr>
        </p:nvSpPr>
        <p:spPr>
          <a:xfrm>
            <a:off x="542510" y="1657350"/>
            <a:ext cx="10972594" cy="277809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endParaRPr lang="en-CA" sz="1400" b="1" dirty="0"/>
          </a:p>
        </p:txBody>
      </p:sp>
    </p:spTree>
    <p:extLst>
      <p:ext uri="{BB962C8B-B14F-4D97-AF65-F5344CB8AC3E}">
        <p14:creationId xmlns:p14="http://schemas.microsoft.com/office/powerpoint/2010/main" val="416433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Indicateurs de rendement clés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47028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1DFDDCC-BBF3-1046-8EEF-7AB67659E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879338"/>
          </a:xfrm>
        </p:spPr>
        <p:txBody>
          <a:bodyPr anchor="t"/>
          <a:lstStyle/>
          <a:p>
            <a:r>
              <a:rPr lang="en-US" dirty="0" smtClean="0">
                <a:solidFill>
                  <a:schemeClr val="accent2"/>
                </a:solidFill>
              </a:rPr>
              <a:t>Merci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="" xmlns:a16="http://schemas.microsoft.com/office/drawing/2014/main" id="{F1C902B0-2A6E-9A47-ABA8-3B6DF9D86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>
                <a:solidFill>
                  <a:schemeClr val="tx2"/>
                </a:solidFill>
              </a:rPr>
              <a:t>Prénom</a:t>
            </a:r>
            <a:r>
              <a:rPr lang="en-US" dirty="0">
                <a:solidFill>
                  <a:schemeClr val="tx2"/>
                </a:solidFill>
              </a:rPr>
              <a:t>, Nom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="" xmlns:a16="http://schemas.microsoft.com/office/drawing/2014/main" id="{519EB108-634C-AB49-AD6F-E42454701A5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err="1" smtClean="0">
                <a:hlinkClick r:id="rId2"/>
              </a:rPr>
              <a:t>xxx@</a:t>
            </a:r>
            <a:r>
              <a:rPr lang="en-US" dirty="0" err="1" smtClean="0"/>
              <a:t>xxx</a:t>
            </a:r>
            <a:endParaRPr lang="en-US" dirty="0"/>
          </a:p>
          <a:p>
            <a:r>
              <a:rPr lang="en-US" dirty="0" smtClean="0"/>
              <a:t>xxx-xxx-</a:t>
            </a:r>
            <a:r>
              <a:rPr lang="en-US" dirty="0" err="1" smtClean="0"/>
              <a:t>xxxx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="" xmlns:a16="http://schemas.microsoft.com/office/drawing/2014/main" id="{9DFD37AA-5B5C-9F4B-A610-95815DC6446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>
                <a:solidFill>
                  <a:schemeClr val="tx2"/>
                </a:solidFill>
              </a:rPr>
              <a:t>Prénom</a:t>
            </a:r>
            <a:r>
              <a:rPr lang="en-US" dirty="0">
                <a:solidFill>
                  <a:schemeClr val="tx2"/>
                </a:solidFill>
              </a:rPr>
              <a:t>, Nom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="" xmlns:a16="http://schemas.microsoft.com/office/drawing/2014/main" id="{FD22F821-7383-CE43-818D-79BA67E6811A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="" xmlns:a16="http://schemas.microsoft.com/office/drawing/2014/main" id="{9FD7778C-00F9-C142-A711-54988151C487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>
                <a:solidFill>
                  <a:schemeClr val="tx2"/>
                </a:solidFill>
              </a:rPr>
              <a:t>Prénom</a:t>
            </a:r>
            <a:r>
              <a:rPr lang="en-US" dirty="0">
                <a:solidFill>
                  <a:schemeClr val="tx2"/>
                </a:solidFill>
              </a:rPr>
              <a:t>, Nom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="" xmlns:a16="http://schemas.microsoft.com/office/drawing/2014/main" id="{6C55638D-863D-4E45-8718-B16FF6270590}"/>
              </a:ext>
            </a:extLst>
          </p:cNvPr>
          <p:cNvSpPr>
            <a:spLocks noGrp="1"/>
          </p:cNvSpPr>
          <p:nvPr>
            <p:ph type="body" sz="half" idx="16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="" xmlns:a16="http://schemas.microsoft.com/office/drawing/2014/main" id="{E615D080-AB43-4A4A-ABC7-D69919AD801B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>
                <a:solidFill>
                  <a:schemeClr val="tx2"/>
                </a:solidFill>
              </a:rPr>
              <a:t>Prénom</a:t>
            </a:r>
            <a:r>
              <a:rPr lang="en-US" dirty="0">
                <a:solidFill>
                  <a:schemeClr val="tx2"/>
                </a:solidFill>
              </a:rPr>
              <a:t>, Nom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="" xmlns:a16="http://schemas.microsoft.com/office/drawing/2014/main" id="{FD8C478C-DBED-794C-BEFF-69A42D2DE24F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  <a:p>
            <a:endParaRPr lang="en-US" dirty="0"/>
          </a:p>
        </p:txBody>
      </p:sp>
      <p:sp>
        <p:nvSpPr>
          <p:cNvPr id="5" name="Picture Placeholder 4" descr="Click to add picture" title="Picture placeholder"/>
          <p:cNvSpPr>
            <a:spLocks noGrp="1"/>
          </p:cNvSpPr>
          <p:nvPr>
            <p:ph type="pic" sz="quarter" idx="29"/>
          </p:nvPr>
        </p:nvSpPr>
        <p:spPr>
          <a:xfrm>
            <a:off x="0" y="1"/>
            <a:ext cx="5257800" cy="6857999"/>
          </a:xfrm>
        </p:spPr>
      </p:sp>
    </p:spTree>
    <p:extLst>
      <p:ext uri="{BB962C8B-B14F-4D97-AF65-F5344CB8AC3E}">
        <p14:creationId xmlns:p14="http://schemas.microsoft.com/office/powerpoint/2010/main" val="2135870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CA" dirty="0" smtClean="0">
                <a:solidFill>
                  <a:schemeClr val="tx2"/>
                </a:solidFill>
              </a:rPr>
              <a:t>À propos du </a:t>
            </a:r>
            <a:r>
              <a:rPr lang="en-CA" dirty="0" err="1" smtClean="0">
                <a:solidFill>
                  <a:schemeClr val="tx2"/>
                </a:solidFill>
              </a:rPr>
              <a:t>présent</a:t>
            </a:r>
            <a:r>
              <a:rPr lang="en-CA" dirty="0" smtClean="0">
                <a:solidFill>
                  <a:schemeClr val="tx2"/>
                </a:solidFill>
              </a:rPr>
              <a:t> document</a:t>
            </a:r>
            <a:endParaRPr lang="en-CA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8759" y="1842655"/>
            <a:ext cx="110063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èle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résentation de stratégie de gestion du changement est un outil de base pour vous aider à organiser les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nts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és à présenter à un public </a:t>
            </a:r>
            <a:r>
              <a:rPr lang="fr-CA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spécialiste en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changement. Il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ut être utilisé pour fournir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s de haut niveau sur la stratégie de gestion du changement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s clés liées au changement </a:t>
            </a:r>
            <a:endParaRPr lang="fr-FR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révélés par les évaluations qui ont contribué à déterminer la meilleure stratégie de gestion du changement dans votre organisation pour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employés</a:t>
            </a:r>
            <a:endParaRPr lang="fr-FR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eut facilement être adapté à différents publics tels que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haute direction afin </a:t>
            </a:r>
            <a:r>
              <a:rPr lang="fr-FR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'obtenir leur soutien </a:t>
            </a:r>
            <a:r>
              <a:rPr lang="fr-FR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 aux fins d’approbation.</a:t>
            </a:r>
          </a:p>
        </p:txBody>
      </p:sp>
    </p:spTree>
    <p:extLst>
      <p:ext uri="{BB962C8B-B14F-4D97-AF65-F5344CB8AC3E}">
        <p14:creationId xmlns:p14="http://schemas.microsoft.com/office/powerpoint/2010/main" val="810880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81093" y="1817959"/>
            <a:ext cx="5430838" cy="311138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VISION DU MILIEU DE TRAVAIL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6229352" y="1817959"/>
            <a:ext cx="5285752" cy="311138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OBJECTIF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5"/>
          </p:nvPr>
        </p:nvSpPr>
        <p:spPr>
          <a:xfrm>
            <a:off x="606491" y="2238723"/>
            <a:ext cx="5405440" cy="2935657"/>
          </a:xfrm>
        </p:spPr>
        <p:txBody>
          <a:bodyPr/>
          <a:lstStyle/>
          <a:p>
            <a:pPr marL="0" indent="0">
              <a:buNone/>
            </a:pPr>
            <a:r>
              <a:rPr lang="fr-CA" i="1" dirty="0" smtClean="0">
                <a:solidFill>
                  <a:schemeClr val="tx2"/>
                </a:solidFill>
              </a:rPr>
              <a:t>Inclure la vision pour le projet de modernisation du milieu de travail</a:t>
            </a:r>
            <a:endParaRPr lang="fr-CA" i="1" dirty="0">
              <a:solidFill>
                <a:schemeClr val="tx2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6"/>
          </p:nvPr>
        </p:nvSpPr>
        <p:spPr>
          <a:xfrm>
            <a:off x="6229352" y="2238724"/>
            <a:ext cx="5288837" cy="2935657"/>
          </a:xfrm>
        </p:spPr>
        <p:txBody>
          <a:bodyPr/>
          <a:lstStyle/>
          <a:p>
            <a:pPr marL="0" indent="0">
              <a:buNone/>
            </a:pPr>
            <a:r>
              <a:rPr lang="fr-CA" i="1" dirty="0" smtClean="0">
                <a:solidFill>
                  <a:schemeClr val="tx2"/>
                </a:solidFill>
              </a:rPr>
              <a:t>Inclure les objectifs du projet de modernisation du milieu de travail</a:t>
            </a:r>
            <a:endParaRPr lang="fr-CA" i="1" dirty="0">
              <a:solidFill>
                <a:schemeClr val="tx2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>
                <a:solidFill>
                  <a:schemeClr val="tx2"/>
                </a:solidFill>
              </a:rPr>
              <a:t>(nom du projet de modernisation)</a:t>
            </a:r>
            <a:endParaRPr lang="fr-CA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980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>
                <a:solidFill>
                  <a:schemeClr val="tx2"/>
                </a:solidFill>
              </a:rPr>
              <a:t>Expliquer si vous utilisez une nouvelle structure organisationnelle ou une structure </a:t>
            </a:r>
            <a:r>
              <a:rPr lang="fr-CA" sz="1400" i="1" dirty="0" smtClean="0">
                <a:solidFill>
                  <a:schemeClr val="tx2"/>
                </a:solidFill>
              </a:rPr>
              <a:t>existante</a:t>
            </a:r>
            <a:endParaRPr lang="fr-CA" sz="1400" i="1" dirty="0">
              <a:solidFill>
                <a:schemeClr val="tx2"/>
              </a:solidFill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>
                <a:solidFill>
                  <a:schemeClr val="tx2"/>
                </a:solidFill>
              </a:rPr>
              <a:t>Démontrer la structure et expliquer qui sont les membres ainsi que leur rôles dans le contexte du projet</a:t>
            </a: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fr-CA" i="1" dirty="0">
              <a:solidFill>
                <a:srgbClr val="FF0000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en-CA" i="1" dirty="0">
              <a:solidFill>
                <a:srgbClr val="FF0000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Gouvernanc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181806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smtClean="0">
                <a:solidFill>
                  <a:schemeClr val="tx2"/>
                </a:solidFill>
              </a:rPr>
              <a:t>Démontrer la structure de l’équipe de projet intégrée ainsi que les rôles et responsabilités</a:t>
            </a:r>
          </a:p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 err="1" smtClean="0">
                <a:solidFill>
                  <a:schemeClr val="tx2"/>
                </a:solidFill>
              </a:rPr>
              <a:t>Inclure</a:t>
            </a:r>
            <a:r>
              <a:rPr lang="en-US" sz="1400" i="1" dirty="0" smtClean="0">
                <a:solidFill>
                  <a:schemeClr val="tx2"/>
                </a:solidFill>
              </a:rPr>
              <a:t> </a:t>
            </a:r>
            <a:r>
              <a:rPr lang="en-US" sz="1400" i="1" dirty="0">
                <a:solidFill>
                  <a:schemeClr val="tx2"/>
                </a:solidFill>
              </a:rPr>
              <a:t>le </a:t>
            </a:r>
            <a:r>
              <a:rPr lang="en-US" sz="1400" i="1" dirty="0" err="1">
                <a:solidFill>
                  <a:schemeClr val="tx2"/>
                </a:solidFill>
              </a:rPr>
              <a:t>parrain</a:t>
            </a:r>
            <a:r>
              <a:rPr lang="en-US" sz="1400" i="1" dirty="0">
                <a:solidFill>
                  <a:schemeClr val="tx2"/>
                </a:solidFill>
              </a:rPr>
              <a:t> et </a:t>
            </a:r>
            <a:r>
              <a:rPr lang="en-US" sz="1400" i="1" dirty="0" smtClean="0">
                <a:solidFill>
                  <a:schemeClr val="tx2"/>
                </a:solidFill>
              </a:rPr>
              <a:t>le(s) champion(s) du </a:t>
            </a:r>
            <a:r>
              <a:rPr lang="en-US" sz="1400" i="1" dirty="0" err="1" smtClean="0">
                <a:solidFill>
                  <a:schemeClr val="tx2"/>
                </a:solidFill>
              </a:rPr>
              <a:t>projet</a:t>
            </a:r>
            <a:endParaRPr lang="en-CA" sz="1400" i="1" dirty="0">
              <a:solidFill>
                <a:schemeClr val="tx2"/>
              </a:solidFill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en-CA" i="1" dirty="0">
              <a:solidFill>
                <a:srgbClr val="FF0000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Structure proposée de l’équipe de gestion du changement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4584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0" i="1" dirty="0" smtClean="0">
                <a:solidFill>
                  <a:schemeClr val="tx2"/>
                </a:solidFill>
              </a:rPr>
              <a:t>Inclure la liste des évaluations utilisées lors de cet exercice ainsi que leur but et les données qu’elles ont générées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Text Placeholder 6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Résultats des évaluations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82334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smtClean="0">
                <a:solidFill>
                  <a:schemeClr val="tx2"/>
                </a:solidFill>
              </a:rPr>
              <a:t>Inclure les conclusions principales de l’évaluation.</a:t>
            </a:r>
            <a:endParaRPr lang="fr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Répertoire des changements et évaluation des répercussions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71734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arte des intervenants</a:t>
            </a:r>
            <a:endParaRPr lang="fr-CA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smtClean="0">
                <a:solidFill>
                  <a:schemeClr val="tx2"/>
                </a:solidFill>
              </a:rPr>
              <a:t>Inclure les conclusions principales de l’évaluation.</a:t>
            </a:r>
            <a:endParaRPr lang="fr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idx="13"/>
          </p:nvPr>
        </p:nvSpPr>
        <p:spPr>
          <a:xfrm>
            <a:off x="542925" y="1657350"/>
            <a:ext cx="2654801" cy="277809"/>
          </a:xfrm>
        </p:spPr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06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Évaluation de l’état de préparation au changement</a:t>
            </a:r>
            <a:endParaRPr lang="fr-CA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smtClean="0">
                <a:solidFill>
                  <a:schemeClr val="tx2"/>
                </a:solidFill>
              </a:rPr>
              <a:t>Inclure les conclusions principales de l’évaluation.</a:t>
            </a:r>
            <a:endParaRPr lang="fr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idx="13"/>
          </p:nvPr>
        </p:nvSpPr>
        <p:spPr>
          <a:xfrm>
            <a:off x="542925" y="1657350"/>
            <a:ext cx="2654801" cy="277809"/>
          </a:xfrm>
        </p:spPr>
        <p:txBody>
          <a:bodyPr/>
          <a:lstStyle/>
          <a:p>
            <a:r>
              <a:rPr lang="en-US" dirty="0" smtClean="0"/>
              <a:t>SOUS-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48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f186c7c4546387aa8f868e8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0</TotalTime>
  <Words>394</Words>
  <Application>Microsoft Office PowerPoint</Application>
  <PresentationFormat>Widescreen</PresentationFormat>
  <Paragraphs>59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Georgia</vt:lpstr>
      <vt:lpstr>Open Sans</vt:lpstr>
      <vt:lpstr>Times New Roman</vt:lpstr>
      <vt:lpstr>Office Theme</vt:lpstr>
      <vt:lpstr>think-cell Slide</vt:lpstr>
      <vt:lpstr>Stratégie de gestion du changement</vt:lpstr>
      <vt:lpstr>À propos du présent document</vt:lpstr>
      <vt:lpstr>(nom du projet de modernisation)</vt:lpstr>
      <vt:lpstr>Gouvernance</vt:lpstr>
      <vt:lpstr>Structure proposée de l’équipe de gestion du changement</vt:lpstr>
      <vt:lpstr>Résultats des évaluations</vt:lpstr>
      <vt:lpstr>Répertoire des changements et évaluation des répercussions</vt:lpstr>
      <vt:lpstr>Carte des intervenants</vt:lpstr>
      <vt:lpstr>Évaluation de l’état de préparation au changement</vt:lpstr>
      <vt:lpstr>Outil d’évaluation de changement ADKAR</vt:lpstr>
      <vt:lpstr>Stratégie de gestion du changement proposée</vt:lpstr>
      <vt:lpstr>Cadre de communication proposé</vt:lpstr>
      <vt:lpstr>Cadre de mobilisation proposé</vt:lpstr>
      <vt:lpstr>Cadre de formation proposé</vt:lpstr>
      <vt:lpstr>Gestion de la résistance (à inclure au besoin)</vt:lpstr>
      <vt:lpstr>Indicateurs de rendement clés</vt:lpstr>
      <vt:lpstr>Merci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Alexandrine Menard</cp:lastModifiedBy>
  <cp:revision>316</cp:revision>
  <dcterms:created xsi:type="dcterms:W3CDTF">2018-01-23T15:59:12Z</dcterms:created>
  <dcterms:modified xsi:type="dcterms:W3CDTF">2020-07-22T16:42:36Z</dcterms:modified>
</cp:coreProperties>
</file>